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41" r:id="rId5"/>
  </p:sldMasterIdLst>
  <p:notesMasterIdLst>
    <p:notesMasterId r:id="rId29"/>
  </p:notesMasterIdLst>
  <p:sldIdLst>
    <p:sldId id="279" r:id="rId6"/>
    <p:sldId id="284" r:id="rId7"/>
    <p:sldId id="286" r:id="rId8"/>
    <p:sldId id="287" r:id="rId9"/>
    <p:sldId id="310" r:id="rId10"/>
    <p:sldId id="308" r:id="rId11"/>
    <p:sldId id="285" r:id="rId12"/>
    <p:sldId id="309" r:id="rId13"/>
    <p:sldId id="305" r:id="rId14"/>
    <p:sldId id="306" r:id="rId15"/>
    <p:sldId id="288" r:id="rId16"/>
    <p:sldId id="291" r:id="rId17"/>
    <p:sldId id="307" r:id="rId18"/>
    <p:sldId id="300" r:id="rId19"/>
    <p:sldId id="298" r:id="rId20"/>
    <p:sldId id="295" r:id="rId21"/>
    <p:sldId id="301" r:id="rId22"/>
    <p:sldId id="302" r:id="rId23"/>
    <p:sldId id="303" r:id="rId24"/>
    <p:sldId id="299" r:id="rId25"/>
    <p:sldId id="304" r:id="rId26"/>
    <p:sldId id="297" r:id="rId27"/>
    <p:sldId id="289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73" d="100"/>
          <a:sy n="73" d="100"/>
        </p:scale>
        <p:origin x="72" y="19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Relationship Id="rId8" Type="http://schemas.openxmlformats.org/officeDocument/2006/relationships/slide" Target="slides/slid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EB68C-604D-45D5-AF36-5FC97997B612}" type="datetimeFigureOut">
              <a:rPr lang="en-AU" smtClean="0"/>
              <a:t>9/11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94BEAE-8CAC-4E2A-8100-ADD128F2274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316427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e_TIcker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265896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2986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e_TIcker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Basic - Dark, White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2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3970736"/>
            <a:ext cx="6884562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>
                    <a:lumMod val="95000"/>
                  </a:schemeClr>
                </a:solidFill>
                <a:latin typeface="GT Sectra Fine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pPr marL="0" lvl="0" indent="0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8" cy="530687"/>
          </a:xfrm>
        </p:spPr>
        <p:txBody>
          <a:bodyPr/>
          <a:lstStyle>
            <a:lvl1pPr marL="0" indent="0" algn="l" defTabSz="914411" rtl="0" eaLnBrk="1" latinLnBrk="0" hangingPunct="1">
              <a:spcAft>
                <a:spcPts val="0"/>
              </a:spcAft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(DD MMMM YYYY)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E5A68FC7-26B5-D447-0F4F-4539456AF0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521" y="4788067"/>
            <a:ext cx="1965317" cy="1298408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F6C5752-FCAA-86D8-96A8-435178EF85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9092" y="5004444"/>
            <a:ext cx="4114800" cy="348141"/>
          </a:xfrm>
          <a:prstGeom prst="rect">
            <a:avLst/>
          </a:prstGeom>
        </p:spPr>
        <p:txBody>
          <a:bodyPr/>
          <a:lstStyle>
            <a:lvl1pPr>
              <a:defRPr lang="en-US" sz="1600" b="0" i="0" kern="1200" spc="0" dirty="0" smtClean="0">
                <a:solidFill>
                  <a:schemeClr val="tx1">
                    <a:lumMod val="95000"/>
                  </a:schemeClr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s</a:t>
            </a:r>
          </a:p>
        </p:txBody>
      </p:sp>
    </p:spTree>
    <p:extLst>
      <p:ext uri="{BB962C8B-B14F-4D97-AF65-F5344CB8AC3E}">
        <p14:creationId xmlns:p14="http://schemas.microsoft.com/office/powerpoint/2010/main" val="3091483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 userDrawn="1">
          <p15:clr>
            <a:srgbClr val="5ACBF0"/>
          </p15:clr>
        </p15:guide>
        <p15:guide id="2" orient="horz" pos="2520" userDrawn="1">
          <p15:clr>
            <a:srgbClr val="5ACBF0"/>
          </p15:clr>
        </p15:guide>
        <p15:guide id="3" pos="720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slideLayout" Target="../slideLayouts/slideLayout28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29" Type="http://schemas.openxmlformats.org/officeDocument/2006/relationships/oleObject" Target="../embeddings/oleObject4.bin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Relationship Id="rId27" Type="http://schemas.openxmlformats.org/officeDocument/2006/relationships/tags" Target="../tags/tag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19" r:id="rId2"/>
    <p:sldLayoutId id="2147483712" r:id="rId3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43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s://static1.squarespace.com/static/62642e5279626642fe233233/t/6387b484702d30798e9c313f/1669837958977/Guvenen-Pistaferri-Violante-QE-2022.pdf" TargetMode="Externa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6D1063-F7C5-BF45-3F8D-4BBF7C6A08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9092" y="381001"/>
            <a:ext cx="8631721" cy="3429000"/>
          </a:xfrm>
        </p:spPr>
        <p:txBody>
          <a:bodyPr/>
          <a:lstStyle/>
          <a:p>
            <a:r>
              <a:rPr lang="en-US" sz="4400" dirty="0"/>
              <a:t>Australian insights on income dynamics from administrative data (2002-2022)</a:t>
            </a:r>
            <a:endParaRPr lang="en-AU" sz="4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11E2DE-0391-4E20-1E1B-0662C2F1A8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U" dirty="0"/>
              <a:t>GRID Project Up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66D3B8-7879-8615-37E3-CDE7531C8E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08/11/20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44EA3F-0146-1015-E861-2683F2873D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Matt Elias</a:t>
            </a:r>
          </a:p>
        </p:txBody>
      </p:sp>
    </p:spTree>
    <p:extLst>
      <p:ext uri="{BB962C8B-B14F-4D97-AF65-F5344CB8AC3E}">
        <p14:creationId xmlns:p14="http://schemas.microsoft.com/office/powerpoint/2010/main" val="3250290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6848C7-8134-67E9-0EE7-A29D906E6B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8F3FA8-2822-C348-FF63-F8FE7BDE60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E1268F-BDF0-01BA-98A0-287CE3347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roeconomic performa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D8F629-6A4A-98ED-5CE7-4FFBE1388F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538445" y="3231757"/>
            <a:ext cx="4634416" cy="4114800"/>
          </a:xfrm>
          <a:prstGeom prst="rect">
            <a:avLst/>
          </a:prstGeom>
        </p:spPr>
      </p:pic>
      <p:pic>
        <p:nvPicPr>
          <p:cNvPr id="9" name="Picture 8" descr="A graph of a graph showing the number of people in the same direction&#10;&#10;Description automatically generated with medium confidence">
            <a:extLst>
              <a:ext uri="{FF2B5EF4-FFF2-40B4-BE49-F238E27FC236}">
                <a16:creationId xmlns:a16="http://schemas.microsoft.com/office/drawing/2014/main" id="{B6D8939D-1E35-1D5D-2985-1EE08E9602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631" y="1452222"/>
            <a:ext cx="4146416" cy="3695105"/>
          </a:xfrm>
          <a:prstGeom prst="rect">
            <a:avLst/>
          </a:prstGeom>
        </p:spPr>
      </p:pic>
      <p:pic>
        <p:nvPicPr>
          <p:cNvPr id="11" name="Picture 10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C7FF4D1E-2D8F-6D1D-9178-669947DAA9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444" y="1506724"/>
            <a:ext cx="3873056" cy="3398804"/>
          </a:xfrm>
          <a:prstGeom prst="rect">
            <a:avLst/>
          </a:prstGeom>
        </p:spPr>
      </p:pic>
      <p:pic>
        <p:nvPicPr>
          <p:cNvPr id="8" name="Picture 7" descr="A graph with a line going up&#10;&#10;Description automatically generated">
            <a:extLst>
              <a:ext uri="{FF2B5EF4-FFF2-40B4-BE49-F238E27FC236}">
                <a16:creationId xmlns:a16="http://schemas.microsoft.com/office/drawing/2014/main" id="{B2609047-DA69-0CD3-41F4-F7E4FFC113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425" y="1506724"/>
            <a:ext cx="3964841" cy="3357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3190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Inequality</a:t>
            </a:r>
          </a:p>
        </p:txBody>
      </p:sp>
    </p:spTree>
    <p:extLst>
      <p:ext uri="{BB962C8B-B14F-4D97-AF65-F5344CB8AC3E}">
        <p14:creationId xmlns:p14="http://schemas.microsoft.com/office/powerpoint/2010/main" val="41839802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582288-4642-3DF7-CC0A-1C75CF736A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81CC38-1003-848E-9D32-CC7AD7F5F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ercentiles of the Log Real Earnings Distribution relative to 2002</a:t>
            </a:r>
            <a:endParaRPr lang="en-NZ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E05296-FEBF-A988-B498-FF38709115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36962" y="1236961"/>
            <a:ext cx="5139674" cy="4810800"/>
          </a:xfrm>
          <a:prstGeom prst="rect">
            <a:avLst/>
          </a:prstGeom>
        </p:spPr>
      </p:pic>
      <p:pic>
        <p:nvPicPr>
          <p:cNvPr id="19" name="Picture 18" descr="A graph of a graph showing the growth of the company's earnings&#10;&#10;Description automatically generated with medium confidence">
            <a:extLst>
              <a:ext uri="{FF2B5EF4-FFF2-40B4-BE49-F238E27FC236}">
                <a16:creationId xmlns:a16="http://schemas.microsoft.com/office/drawing/2014/main" id="{D9BF222B-C85D-3A91-EA43-50A5F3B2AA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762" y="1508687"/>
            <a:ext cx="4463021" cy="3840627"/>
          </a:xfrm>
          <a:prstGeom prst="rect">
            <a:avLst/>
          </a:prstGeom>
        </p:spPr>
      </p:pic>
      <p:pic>
        <p:nvPicPr>
          <p:cNvPr id="23" name="Picture 22" descr="A graph with colored lines and numbers&#10;&#10;Description automatically generated">
            <a:extLst>
              <a:ext uri="{FF2B5EF4-FFF2-40B4-BE49-F238E27FC236}">
                <a16:creationId xmlns:a16="http://schemas.microsoft.com/office/drawing/2014/main" id="{67C16581-3AF8-E7CB-A43D-E3C3683A31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0652" y="1508686"/>
            <a:ext cx="4463021" cy="3840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1983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0DD1C0-34FB-52C6-A667-1C60A48A4B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BEDF85B-EAC4-AF2C-D55B-A1C2E4FECF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26FA60-5F53-3E00-6E2C-837264ADF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ercentiles of the Log Real Earnings Distribution relative to 2002</a:t>
            </a:r>
            <a:endParaRPr lang="en-NZ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2035E9-60FF-2B4B-5454-754C87F30A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36962" y="1236961"/>
            <a:ext cx="5139674" cy="4810800"/>
          </a:xfrm>
          <a:prstGeom prst="rect">
            <a:avLst/>
          </a:prstGeom>
        </p:spPr>
      </p:pic>
      <p:pic>
        <p:nvPicPr>
          <p:cNvPr id="21" name="Picture 20" descr="A graph with orange and blue lines&#10;&#10;Description automatically generated">
            <a:extLst>
              <a:ext uri="{FF2B5EF4-FFF2-40B4-BE49-F238E27FC236}">
                <a16:creationId xmlns:a16="http://schemas.microsoft.com/office/drawing/2014/main" id="{2D3E2F54-6786-A2E5-7A07-94E2D8FD6B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614" y="1979038"/>
            <a:ext cx="4565665" cy="4068723"/>
          </a:xfrm>
          <a:prstGeom prst="rect">
            <a:avLst/>
          </a:prstGeom>
        </p:spPr>
      </p:pic>
      <p:pic>
        <p:nvPicPr>
          <p:cNvPr id="25" name="Picture 24" descr="A graph of a graph showing the number of earnings&#10;&#10;Description automatically generated with medium confidence">
            <a:extLst>
              <a:ext uri="{FF2B5EF4-FFF2-40B4-BE49-F238E27FC236}">
                <a16:creationId xmlns:a16="http://schemas.microsoft.com/office/drawing/2014/main" id="{A2691C9E-21E6-14E2-8672-623F77A0BD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1364" y="1979038"/>
            <a:ext cx="4680958" cy="4028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3653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582288-4642-3DF7-CC0A-1C75CF736A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81CC38-1003-848E-9D32-CC7AD7F5F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volution of </a:t>
            </a:r>
            <a:r>
              <a:rPr lang="en-US" b="1" dirty="0" err="1"/>
              <a:t>Labour</a:t>
            </a:r>
            <a:r>
              <a:rPr lang="en-US" b="1" dirty="0"/>
              <a:t> Earnings Inequality by Cohort</a:t>
            </a:r>
            <a:endParaRPr lang="en-NZ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D79B48-3761-4E3B-8FA9-949C746C10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553319" y="1795239"/>
            <a:ext cx="6096000" cy="3122341"/>
          </a:xfrm>
          <a:prstGeom prst="rect">
            <a:avLst/>
          </a:prstGeom>
        </p:spPr>
      </p:pic>
      <p:pic>
        <p:nvPicPr>
          <p:cNvPr id="6" name="Picture 5" descr="A graph of growth and growth of men&#10;&#10;Description automatically generated with medium confidence">
            <a:extLst>
              <a:ext uri="{FF2B5EF4-FFF2-40B4-BE49-F238E27FC236}">
                <a16:creationId xmlns:a16="http://schemas.microsoft.com/office/drawing/2014/main" id="{F09BEE46-580A-854B-8E10-F8BB83B15C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280818"/>
            <a:ext cx="5600700" cy="4876800"/>
          </a:xfrm>
          <a:prstGeom prst="rect">
            <a:avLst/>
          </a:prstGeom>
        </p:spPr>
      </p:pic>
      <p:pic>
        <p:nvPicPr>
          <p:cNvPr id="9" name="Picture 8" descr="A graph of growth and growth of women's earnings&#10;&#10;Description automatically generated">
            <a:extLst>
              <a:ext uri="{FF2B5EF4-FFF2-40B4-BE49-F238E27FC236}">
                <a16:creationId xmlns:a16="http://schemas.microsoft.com/office/drawing/2014/main" id="{B3F6E697-1934-F08D-9D0C-C505559CA3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9116" y="1280818"/>
            <a:ext cx="56007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2630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Volat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5862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Distribution of one-year growth of </a:t>
            </a:r>
            <a:r>
              <a:rPr lang="en-AU" dirty="0" err="1">
                <a:ea typeface="Roboto Black"/>
                <a:cs typeface="Arial"/>
              </a:rPr>
              <a:t>residualized</a:t>
            </a:r>
            <a:r>
              <a:rPr lang="en-AU" dirty="0">
                <a:ea typeface="Roboto Black"/>
                <a:cs typeface="Arial"/>
              </a:rPr>
              <a:t> earnings</a:t>
            </a:r>
            <a:endParaRPr lang="en-US" dirty="0"/>
          </a:p>
        </p:txBody>
      </p:sp>
      <p:pic>
        <p:nvPicPr>
          <p:cNvPr id="5" name="Picture 4" descr="A graph of a person and person&#10;&#10;Description automatically generated">
            <a:extLst>
              <a:ext uri="{FF2B5EF4-FFF2-40B4-BE49-F238E27FC236}">
                <a16:creationId xmlns:a16="http://schemas.microsoft.com/office/drawing/2014/main" id="{00A95499-5FA1-A3D8-0C66-42A3B54C6E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09880" y="1280818"/>
            <a:ext cx="7986000" cy="4089321"/>
          </a:xfrm>
          <a:prstGeom prst="rect">
            <a:avLst/>
          </a:prstGeom>
        </p:spPr>
      </p:pic>
      <p:pic>
        <p:nvPicPr>
          <p:cNvPr id="6" name="Picture 5" descr="A graph of increasing earnings&#10;&#10;Description automatically generated with medium confidence">
            <a:extLst>
              <a:ext uri="{FF2B5EF4-FFF2-40B4-BE49-F238E27FC236}">
                <a16:creationId xmlns:a16="http://schemas.microsoft.com/office/drawing/2014/main" id="{330B14C2-A02F-2D7C-32E0-9F47B0054E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940560"/>
            <a:ext cx="3418761" cy="2976880"/>
          </a:xfrm>
          <a:prstGeom prst="rect">
            <a:avLst/>
          </a:prstGeom>
        </p:spPr>
      </p:pic>
      <p:pic>
        <p:nvPicPr>
          <p:cNvPr id="8" name="Picture 7" descr="A graph with blue lines and numbers&#10;&#10;Description automatically generated">
            <a:extLst>
              <a:ext uri="{FF2B5EF4-FFF2-40B4-BE49-F238E27FC236}">
                <a16:creationId xmlns:a16="http://schemas.microsoft.com/office/drawing/2014/main" id="{C5F2CAF4-E4CB-E602-3B21-BBDCD548AC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853" y="1940560"/>
            <a:ext cx="3628861" cy="3061080"/>
          </a:xfrm>
          <a:prstGeom prst="rect">
            <a:avLst/>
          </a:prstGeom>
        </p:spPr>
      </p:pic>
      <p:pic>
        <p:nvPicPr>
          <p:cNvPr id="10" name="Picture 9" descr="A graph with blue lines and text&#10;&#10;Description automatically generated">
            <a:extLst>
              <a:ext uri="{FF2B5EF4-FFF2-40B4-BE49-F238E27FC236}">
                <a16:creationId xmlns:a16="http://schemas.microsoft.com/office/drawing/2014/main" id="{AA1358CF-920A-9567-3287-A89EDAB5C4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5390" y="1802750"/>
            <a:ext cx="3541610" cy="3252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539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One-year growth of </a:t>
            </a:r>
            <a:r>
              <a:rPr lang="en-AU" dirty="0" err="1">
                <a:ea typeface="Roboto Black"/>
                <a:cs typeface="Arial"/>
              </a:rPr>
              <a:t>residualized</a:t>
            </a:r>
            <a:r>
              <a:rPr lang="en-AU" dirty="0">
                <a:ea typeface="Roboto Black"/>
                <a:cs typeface="Arial"/>
              </a:rPr>
              <a:t> earnings by permanent incom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EA0745-73FC-8248-777C-A93B77E19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54382" y="1280818"/>
            <a:ext cx="8382000" cy="4281602"/>
          </a:xfrm>
          <a:prstGeom prst="rect">
            <a:avLst/>
          </a:prstGeom>
        </p:spPr>
      </p:pic>
      <p:pic>
        <p:nvPicPr>
          <p:cNvPr id="7" name="Picture 6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65052755-A8BF-EFB5-96A0-DAC1702DBA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42" y="1213439"/>
            <a:ext cx="5600700" cy="5124450"/>
          </a:xfrm>
          <a:prstGeom prst="rect">
            <a:avLst/>
          </a:prstGeom>
        </p:spPr>
      </p:pic>
      <p:pic>
        <p:nvPicPr>
          <p:cNvPr id="10" name="Picture 9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8530F1FE-CCF9-B31B-BD48-363C7FA195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7046" y="1069681"/>
            <a:ext cx="5600700" cy="512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7424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One-yea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 by permanent incom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FCF513-EFC9-8BB7-8CC7-75C2FC60A2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39160" y="1596339"/>
            <a:ext cx="8340000" cy="4211402"/>
          </a:xfrm>
          <a:prstGeom prst="rect">
            <a:avLst/>
          </a:prstGeom>
        </p:spPr>
      </p:pic>
      <p:pic>
        <p:nvPicPr>
          <p:cNvPr id="5" name="Picture 4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C285A9B2-2138-7EE7-B51D-3DC5739B68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215408"/>
            <a:ext cx="5600700" cy="4819650"/>
          </a:xfrm>
          <a:prstGeom prst="rect">
            <a:avLst/>
          </a:prstGeom>
        </p:spPr>
      </p:pic>
      <p:pic>
        <p:nvPicPr>
          <p:cNvPr id="8" name="Picture 7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439548EF-301F-1FCB-B1F9-F976C1AC95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149997"/>
            <a:ext cx="5600700" cy="481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6572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 dirty="0">
                <a:ea typeface="Roboto Black"/>
                <a:cs typeface="Arial"/>
              </a:rPr>
              <a:t>One-year growth of </a:t>
            </a:r>
            <a:r>
              <a:rPr lang="en-AU" dirty="0" err="1">
                <a:ea typeface="Roboto Black"/>
                <a:cs typeface="Arial"/>
              </a:rPr>
              <a:t>residualised</a:t>
            </a:r>
            <a:r>
              <a:rPr lang="en-AU" dirty="0">
                <a:ea typeface="Roboto Black"/>
                <a:cs typeface="Arial"/>
              </a:rPr>
              <a:t> earnings by permanent incom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2B5F549-C55F-CA58-0A5F-3743415033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06295" y="1374152"/>
            <a:ext cx="8250000" cy="4412876"/>
          </a:xfrm>
          <a:prstGeom prst="rect">
            <a:avLst/>
          </a:prstGeom>
        </p:spPr>
      </p:pic>
      <p:pic>
        <p:nvPicPr>
          <p:cNvPr id="6" name="Picture 5" descr="A graph of growth and growth&#10;&#10;Description automatically generated with medium confidence">
            <a:extLst>
              <a:ext uri="{FF2B5EF4-FFF2-40B4-BE49-F238E27FC236}">
                <a16:creationId xmlns:a16="http://schemas.microsoft.com/office/drawing/2014/main" id="{7F47DBD6-85B1-9394-ED13-F27D7766F2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17" y="1201979"/>
            <a:ext cx="5600700" cy="4914900"/>
          </a:xfrm>
          <a:prstGeom prst="rect">
            <a:avLst/>
          </a:prstGeom>
        </p:spPr>
      </p:pic>
      <p:pic>
        <p:nvPicPr>
          <p:cNvPr id="8" name="Picture 7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0A059A12-8B7C-4B07-10D1-B9A8D99D2E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123140"/>
            <a:ext cx="5600700" cy="491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9865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C3A0FF7-58B1-FA81-3C41-8DE3C0DFE1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troductio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94463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en-US" dirty="0">
                <a:ea typeface="Roboto"/>
                <a:cs typeface="Arial"/>
              </a:rPr>
              <a:t>Mo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3760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AE16A4-B19B-C791-F672-5A652799A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991EB8-13E2-E4A4-1386-E57F19CEE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t"/>
          <a:lstStyle/>
          <a:p>
            <a:r>
              <a:rPr lang="en-AU">
                <a:ea typeface="Roboto Black"/>
                <a:cs typeface="Arial"/>
              </a:rPr>
              <a:t>Rank-rank mobility within permanent income distribution</a:t>
            </a:r>
            <a:endParaRPr lang="en-US"/>
          </a:p>
        </p:txBody>
      </p:sp>
      <p:pic>
        <p:nvPicPr>
          <p:cNvPr id="6" name="Picture 5" descr="A graph of a person and person&#10;&#10;Description automatically generated">
            <a:extLst>
              <a:ext uri="{FF2B5EF4-FFF2-40B4-BE49-F238E27FC236}">
                <a16:creationId xmlns:a16="http://schemas.microsoft.com/office/drawing/2014/main" id="{1F0589E0-BFFD-A069-026D-E3B5CF9789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54877" y="1207001"/>
            <a:ext cx="8436000" cy="444399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EDF93AF-8D53-B26E-79F4-2420DDDF3A8C}"/>
              </a:ext>
            </a:extLst>
          </p:cNvPr>
          <p:cNvSpPr txBox="1"/>
          <p:nvPr/>
        </p:nvSpPr>
        <p:spPr>
          <a:xfrm>
            <a:off x="1494369" y="5538211"/>
            <a:ext cx="295063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Rank-rank statistic</a:t>
            </a:r>
          </a:p>
          <a:p>
            <a:r>
              <a:rPr lang="en-US" dirty="0"/>
              <a:t>25-34 Male:  0.660</a:t>
            </a:r>
          </a:p>
          <a:p>
            <a:r>
              <a:rPr lang="en-US" dirty="0"/>
              <a:t>35-44 Male:  0.759</a:t>
            </a:r>
          </a:p>
          <a:p>
            <a:r>
              <a:rPr lang="en-US" dirty="0"/>
              <a:t>45-55 Male:  0.782</a:t>
            </a:r>
            <a:endParaRPr lang="en-NZ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9D44E0-FBBD-D53D-5342-FB4607565832}"/>
              </a:ext>
            </a:extLst>
          </p:cNvPr>
          <p:cNvSpPr txBox="1"/>
          <p:nvPr/>
        </p:nvSpPr>
        <p:spPr>
          <a:xfrm>
            <a:off x="7746999" y="5530144"/>
            <a:ext cx="295063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Rank-rank statistic</a:t>
            </a:r>
          </a:p>
          <a:p>
            <a:r>
              <a:rPr lang="en-US" dirty="0"/>
              <a:t>25-34 Female:  0.566</a:t>
            </a:r>
          </a:p>
          <a:p>
            <a:r>
              <a:rPr lang="en-US" dirty="0"/>
              <a:t>35-44 Female:  0.709</a:t>
            </a:r>
          </a:p>
          <a:p>
            <a:r>
              <a:rPr lang="en-US" dirty="0"/>
              <a:t>45-55 Female:  0.765</a:t>
            </a:r>
            <a:endParaRPr lang="en-NZ" dirty="0"/>
          </a:p>
        </p:txBody>
      </p:sp>
      <p:pic>
        <p:nvPicPr>
          <p:cNvPr id="7" name="Picture 6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97A0F8ED-72FC-37EB-9583-274DE9E6BC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073" y="1054475"/>
            <a:ext cx="4808206" cy="4301218"/>
          </a:xfrm>
          <a:prstGeom prst="rect">
            <a:avLst/>
          </a:prstGeom>
        </p:spPr>
      </p:pic>
      <p:pic>
        <p:nvPicPr>
          <p:cNvPr id="10" name="Picture 9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A8425BCE-0B84-5D86-4F6B-F811360A25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906" y="1054475"/>
            <a:ext cx="4728754" cy="4230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3582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6CAB79-5D36-AFA9-E57F-DF1914C140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ppendix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029015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274280-C980-7734-CDDA-610C2C908A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86FC1D-7F91-FB55-3EB0-2CD49B0AE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09055AA-C032-49A8-3D10-A63F4480763E}"/>
              </a:ext>
            </a:extLst>
          </p:cNvPr>
          <p:cNvSpPr/>
          <p:nvPr/>
        </p:nvSpPr>
        <p:spPr>
          <a:xfrm>
            <a:off x="2827175" y="2136710"/>
            <a:ext cx="5318449" cy="3825551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Insert table 1 from 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  <a:hlinkClick r:id="rId2"/>
              </a:rPr>
              <a:t>grid paper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 for </a:t>
            </a:r>
            <a:r>
              <a:rPr lang="en-AU" b="1" dirty="0" err="1">
                <a:solidFill>
                  <a:schemeClr val="bg1"/>
                </a:solidFill>
                <a:latin typeface="Graphik" panose="020B0503030202060203" pitchFamily="34" charset="77"/>
              </a:rPr>
              <a:t>whats</a:t>
            </a:r>
            <a:r>
              <a:rPr lang="en-AU" b="1" dirty="0">
                <a:solidFill>
                  <a:schemeClr val="bg1"/>
                </a:solidFill>
                <a:latin typeface="Graphik" panose="020B0503030202060203" pitchFamily="34" charset="77"/>
              </a:rPr>
              <a:t> available in the AUS data</a:t>
            </a:r>
          </a:p>
        </p:txBody>
      </p:sp>
    </p:spTree>
    <p:extLst>
      <p:ext uri="{BB962C8B-B14F-4D97-AF65-F5344CB8AC3E}">
        <p14:creationId xmlns:p14="http://schemas.microsoft.com/office/powerpoint/2010/main" val="697872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21C5CD-F977-743C-061A-96C64CEA99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F1F6AA-1CA6-C690-57FA-CA9557746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ariable constr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33671A6B-2C9A-0D5C-B6BA-54E792AC92AF}"/>
                  </a:ext>
                </a:extLst>
              </p:cNvPr>
              <p:cNvSpPr txBox="1"/>
              <p:nvPr/>
            </p:nvSpPr>
            <p:spPr>
              <a:xfrm>
                <a:off x="370417" y="1130739"/>
                <a:ext cx="10644997" cy="55116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dirty="0"/>
                  <a:t>Earnings included in analysi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GRID interested in annual labour market earnings, inclusive of bonuses, overtime, tips, commissions etc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ncome defined using information from Individual Tax Returns and PAYG statements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 defined it as: If the wage line item of ITR missing, use PAYG wage value</a:t>
                </a:r>
              </a:p>
              <a:p>
                <a:endParaRPr lang="en-AU" dirty="0"/>
              </a:p>
              <a:p>
                <a:r>
                  <a:rPr lang="en-AU" dirty="0"/>
                  <a:t>Minimum income cutoff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GRID wants to remove individuals with weak attachment to labour forc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dirty="0"/>
                  <a:t>In each year, minimum earnings cutoff set at: working full time at national minimum wage for less than one quarter of year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bar>
                          <m:barPr>
                            <m:ctrlPr>
                              <a:rPr lang="en-AU" b="0" i="1" smtClean="0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ba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dirty="0"/>
                  <a:t>)</a:t>
                </a:r>
              </a:p>
              <a:p>
                <a:endParaRPr lang="en-AU" dirty="0"/>
              </a:p>
              <a:p>
                <a:r>
                  <a:rPr lang="en-AU" dirty="0"/>
                  <a:t>Four main measures of earning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Real earnings: </a:t>
                </a:r>
                <a:r>
                  <a:rPr lang="en-AU" dirty="0"/>
                  <a:t>Total wage earnings deflated by CPI, and log earning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 err="1"/>
                  <a:t>Residualised</a:t>
                </a:r>
                <a:r>
                  <a:rPr lang="en-AU" b="1" dirty="0"/>
                  <a:t> log earning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  <m:r>
                      <a:rPr lang="en-AU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AU" b="0" i="1" smtClean="0">
                        <a:latin typeface="Cambria Math" panose="02040503050406030204" pitchFamily="18" charset="0"/>
                      </a:rPr>
                      <m:t>𝑙𝑜𝑔</m:t>
                    </m:r>
                    <m:d>
                      <m:d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AU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AU" b="0" i="1" smtClean="0">
                                <a:latin typeface="Cambria Math" panose="02040503050406030204" pitchFamily="18" charset="0"/>
                              </a:rPr>
                              <m:t>𝑖𝑡</m:t>
                            </m:r>
                          </m:sub>
                        </m:sSub>
                      </m:e>
                    </m:d>
                    <m:r>
                      <a:rPr lang="en-AU" b="0" i="1" smtClean="0">
                        <a:latin typeface="Cambria Math" panose="02040503050406030204" pitchFamily="18" charset="0"/>
                      </a:rPr>
                      <m:t>−</m:t>
                    </m:r>
                    <m:acc>
                      <m:accPr>
                        <m:chr m:val="̂"/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</m:acc>
                    <m:sSub>
                      <m:sSub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includes age and year dummies run separately by gende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Permanent Incom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defined as average earnings in prior 3 years, where earnings can be below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bar>
                          <m:barPr>
                            <m:ctrlPr>
                              <a:rPr lang="en-AU" i="1">
                                <a:latin typeface="Cambria Math" panose="02040503050406030204" pitchFamily="18" charset="0"/>
                              </a:rPr>
                            </m:ctrlPr>
                          </m:barPr>
                          <m:e>
                            <m:r>
                              <a:rPr lang="en-AU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ba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for at most 1 year</a:t>
                </a:r>
                <a:endParaRPr lang="en-AU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 b="1" dirty="0"/>
                  <a:t>Changes in </a:t>
                </a:r>
                <a:r>
                  <a:rPr lang="en-AU" b="1" dirty="0" err="1"/>
                  <a:t>residualised</a:t>
                </a:r>
                <a:r>
                  <a:rPr lang="en-AU" b="1" dirty="0"/>
                  <a:t> earnings: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AU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  <m:sup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en-AU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AU" b="0" i="1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dirty="0"/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  <m:sup>
                        <m:r>
                          <a:rPr lang="en-AU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sup>
                    </m:sSubSup>
                    <m:r>
                      <a:rPr lang="en-AU" i="1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  <m:r>
                          <a:rPr lang="en-AU" i="1">
                            <a:latin typeface="Cambria Math" panose="02040503050406030204" pitchFamily="18" charset="0"/>
                          </a:rPr>
                          <m:t>+5</m:t>
                        </m:r>
                      </m:sub>
                    </m:sSub>
                    <m:r>
                      <a:rPr lang="en-AU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AU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n-AU" i="1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r>
                  <a:rPr lang="en-AU" b="1" dirty="0"/>
                  <a:t> </a:t>
                </a:r>
                <a:r>
                  <a:rPr lang="en-AU" dirty="0"/>
                  <a:t>where earnings are above the minimum cutoff for both years</a:t>
                </a:r>
                <a:endParaRPr lang="en-AU" b="1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33671A6B-2C9A-0D5C-B6BA-54E792AC92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417" y="1130739"/>
                <a:ext cx="10644997" cy="5511637"/>
              </a:xfrm>
              <a:prstGeom prst="rect">
                <a:avLst/>
              </a:prstGeom>
              <a:blipFill>
                <a:blip r:embed="rId2"/>
                <a:stretch>
                  <a:fillRect l="-515" t="-552" r="-573" b="-773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413288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0145C1D-0047-447E-4085-5632EA667856}"/>
              </a:ext>
            </a:extLst>
          </p:cNvPr>
          <p:cNvSpPr txBox="1"/>
          <p:nvPr/>
        </p:nvSpPr>
        <p:spPr>
          <a:xfrm>
            <a:off x="761999" y="1317036"/>
            <a:ext cx="951653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Matt Elia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Pre-doctorate economist at e6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Has undertaken the GRID work in our </a:t>
            </a:r>
            <a:r>
              <a:rPr lang="en-AU" dirty="0" err="1"/>
              <a:t>datalab</a:t>
            </a:r>
            <a:r>
              <a:rPr lang="en-AU" dirty="0"/>
              <a:t> environ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b="1" dirty="0"/>
              <a:t>Gianni La Cava:</a:t>
            </a: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Research Director at e6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Constructed the initial LEED used for analysi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b="1" dirty="0"/>
              <a:t>Greg Kapla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Founder of e61, Professor at </a:t>
            </a:r>
            <a:r>
              <a:rPr lang="en-AU" dirty="0" err="1"/>
              <a:t>UoC</a:t>
            </a:r>
            <a:r>
              <a:rPr lang="en-AU" dirty="0"/>
              <a:t>, and head of e61 boar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Provided advice and support for undertaking the project.</a:t>
            </a:r>
          </a:p>
          <a:p>
            <a:endParaRPr lang="en-AU" dirty="0"/>
          </a:p>
          <a:p>
            <a:r>
              <a:rPr lang="en-AU" b="1" dirty="0"/>
              <a:t>Matt Nola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Research Manager at e6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Provided oversight and suggestions on project, presenting today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958EA88-B2E5-E510-9E74-6C33CE2E76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5F03B7-DAC9-6856-D1EC-A70E401C8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61 GRID Team</a:t>
            </a:r>
          </a:p>
        </p:txBody>
      </p:sp>
    </p:spTree>
    <p:extLst>
      <p:ext uri="{BB962C8B-B14F-4D97-AF65-F5344CB8AC3E}">
        <p14:creationId xmlns:p14="http://schemas.microsoft.com/office/powerpoint/2010/main" val="15701370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2797F3-8FD1-B8AE-1D3B-BFD9989A1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1BDAF2-5D80-271C-2397-C62A159DDE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EFBE5B-AF98-13CB-8682-308DB47087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716389"/>
            <a:ext cx="11459365" cy="700597"/>
          </a:xfrm>
        </p:spPr>
        <p:txBody>
          <a:bodyPr/>
          <a:lstStyle/>
          <a:p>
            <a:r>
              <a:rPr lang="en-AU" dirty="0"/>
              <a:t>Australia sample summar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C215F7-536D-F85F-3A60-6B4CDE92AD30}"/>
              </a:ext>
            </a:extLst>
          </p:cNvPr>
          <p:cNvSpPr txBox="1"/>
          <p:nvPr/>
        </p:nvSpPr>
        <p:spPr>
          <a:xfrm>
            <a:off x="666067" y="1552530"/>
            <a:ext cx="39971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8.3m individuals in 2021 (Census 2021 for group = 10.6 million)</a:t>
            </a:r>
            <a:endParaRPr lang="en-AU" dirty="0"/>
          </a:p>
        </p:txBody>
      </p:sp>
      <p:pic>
        <p:nvPicPr>
          <p:cNvPr id="10" name="Picture 9" descr="A graph of a graph of a graph of a graph of a graph of a graph of a graph of a graph of a graph of a graph of a graph of a graph of a graph of&#10;&#10;Description automatically generated">
            <a:extLst>
              <a:ext uri="{FF2B5EF4-FFF2-40B4-BE49-F238E27FC236}">
                <a16:creationId xmlns:a16="http://schemas.microsoft.com/office/drawing/2014/main" id="{071C2EEE-937A-DB59-D97C-28AC1BB1B7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70" y="1904204"/>
            <a:ext cx="7099594" cy="3460734"/>
          </a:xfrm>
          <a:prstGeom prst="rect">
            <a:avLst/>
          </a:prstGeom>
        </p:spPr>
      </p:pic>
      <p:pic>
        <p:nvPicPr>
          <p:cNvPr id="14" name="Picture 13" descr="A graph of a person and person&#10;&#10;Description automatically generated">
            <a:extLst>
              <a:ext uri="{FF2B5EF4-FFF2-40B4-BE49-F238E27FC236}">
                <a16:creationId xmlns:a16="http://schemas.microsoft.com/office/drawing/2014/main" id="{7A6BE124-CB50-8D90-DB11-36A39024D8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171" y="2493518"/>
            <a:ext cx="4576899" cy="390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1934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AA943D-D459-5D36-2BBF-4BDA5B7D22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2F26CB9-3E2A-E5FF-1D40-53A6A4898639}"/>
              </a:ext>
            </a:extLst>
          </p:cNvPr>
          <p:cNvSpPr txBox="1"/>
          <p:nvPr/>
        </p:nvSpPr>
        <p:spPr>
          <a:xfrm>
            <a:off x="5945295" y="550303"/>
            <a:ext cx="58194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LEED individual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Personal ‘spine’ of data based on linking of Census, tax records, benefit records, health records (Medicare), visa records.</a:t>
            </a:r>
            <a:br>
              <a:rPr lang="en-AU" dirty="0"/>
            </a:b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Business ‘spine’ of data uses business tax – both income tax and withholding taxes (withholding on labour income, broad-based consumption tax)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70C180-A642-E533-8BDE-F1FEF17642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A7CCC4-DB29-0216-E7EB-46B49A2FD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716389"/>
            <a:ext cx="11459365" cy="700597"/>
          </a:xfrm>
        </p:spPr>
        <p:txBody>
          <a:bodyPr/>
          <a:lstStyle/>
          <a:p>
            <a:r>
              <a:rPr lang="en-AU" dirty="0"/>
              <a:t>Australia microdata</a:t>
            </a:r>
          </a:p>
        </p:txBody>
      </p:sp>
      <p:pic>
        <p:nvPicPr>
          <p:cNvPr id="1026" name="Picture 2" descr="The LEED is comprised of a person file, a job file and an employer file ">
            <a:extLst>
              <a:ext uri="{FF2B5EF4-FFF2-40B4-BE49-F238E27FC236}">
                <a16:creationId xmlns:a16="http://schemas.microsoft.com/office/drawing/2014/main" id="{AFEB2A97-9687-D838-3C34-045672AE46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19" y="2291936"/>
            <a:ext cx="3971925" cy="329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7D54486-50BD-B9BF-3081-65A68487D228}"/>
              </a:ext>
            </a:extLst>
          </p:cNvPr>
          <p:cNvSpPr txBox="1"/>
          <p:nvPr/>
        </p:nvSpPr>
        <p:spPr>
          <a:xfrm>
            <a:off x="934648" y="1395043"/>
            <a:ext cx="373886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b="1" dirty="0"/>
              <a:t>Data structure (ABS provided </a:t>
            </a:r>
            <a:r>
              <a:rPr lang="en-AU" b="1" dirty="0" err="1"/>
              <a:t>Datalab</a:t>
            </a:r>
            <a:r>
              <a:rPr lang="en-AU" b="1" dirty="0"/>
              <a:t>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888E5A-0A23-2EA9-4666-570DA99F33E4}"/>
              </a:ext>
            </a:extLst>
          </p:cNvPr>
          <p:cNvSpPr txBox="1"/>
          <p:nvPr/>
        </p:nvSpPr>
        <p:spPr>
          <a:xfrm>
            <a:off x="5945295" y="3024713"/>
            <a:ext cx="58194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2002-2022 FY (June years) data available for LEED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87641B-6E1C-8D80-885A-5A77707F047E}"/>
              </a:ext>
            </a:extLst>
          </p:cNvPr>
          <p:cNvSpPr txBox="1"/>
          <p:nvPr/>
        </p:nvSpPr>
        <p:spPr>
          <a:xfrm>
            <a:off x="6006258" y="3800027"/>
            <a:ext cx="581942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Comprehensive but miss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Self-employed (who report through business or personal service income), informal work, or low-income small business employees.</a:t>
            </a:r>
            <a:br>
              <a:rPr lang="en-AU" dirty="0"/>
            </a:b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hose who predominantly earn from </a:t>
            </a:r>
            <a:r>
              <a:rPr lang="en-AU" i="1" dirty="0"/>
              <a:t>untaxed</a:t>
            </a:r>
            <a:r>
              <a:rPr lang="en-AU" dirty="0"/>
              <a:t> benefi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e have not incorporated the full benefit data for this project at this stage.</a:t>
            </a:r>
          </a:p>
        </p:txBody>
      </p:sp>
    </p:spTree>
    <p:extLst>
      <p:ext uri="{BB962C8B-B14F-4D97-AF65-F5344CB8AC3E}">
        <p14:creationId xmlns:p14="http://schemas.microsoft.com/office/powerpoint/2010/main" val="3345681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97CF4F-81C7-6B61-C176-3D09DFB7D8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88F849C-8D6B-0728-E5DF-92CB61DE9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Data construc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CCF1C1-5E9E-BAB7-4502-8B33AC64D905}"/>
              </a:ext>
            </a:extLst>
          </p:cNvPr>
          <p:cNvSpPr txBox="1"/>
          <p:nvPr/>
        </p:nvSpPr>
        <p:spPr>
          <a:xfrm>
            <a:off x="5637362" y="2971800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E764DC-7A88-95FE-E939-62B1CB8D9CD4}"/>
              </a:ext>
            </a:extLst>
          </p:cNvPr>
          <p:cNvSpPr txBox="1"/>
          <p:nvPr/>
        </p:nvSpPr>
        <p:spPr>
          <a:xfrm>
            <a:off x="370417" y="1345720"/>
            <a:ext cx="10723153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Start with a LEED file based on business tax reporting and household tax retur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cludes all tax-filers in Australia (will include temporary migrant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Collapse wage income across all firms in each financial year (inclusive of all wage and salary items), deflate by C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f PAYG value (jobs file) is missing, use individual value from Individual Tax Return (person fi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erge in demographics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dirty="0"/>
              <a:t>Sample us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dividuals aged between 25 and 5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dividuals with meaningful attachment to the labour force who earn </a:t>
            </a:r>
            <a:r>
              <a:rPr lang="en-AU" b="1" dirty="0"/>
              <a:t>above a cutoff</a:t>
            </a:r>
            <a:r>
              <a:rPr lang="en-AU" dirty="0"/>
              <a:t>: working full time for at least one quarter of year part-time at the national minimum wage in each financial year (varies from award wag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Full sample used (slow – but necessary to have sufficient observations to meet privacy requirements)</a:t>
            </a:r>
          </a:p>
        </p:txBody>
      </p:sp>
    </p:spTree>
    <p:extLst>
      <p:ext uri="{BB962C8B-B14F-4D97-AF65-F5344CB8AC3E}">
        <p14:creationId xmlns:p14="http://schemas.microsoft.com/office/powerpoint/2010/main" val="6331457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28C638-C8A1-7D18-2B2F-7DC275397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EDD35F6-69F5-E344-51AC-DB5BA985E9E2}"/>
              </a:ext>
            </a:extLst>
          </p:cNvPr>
          <p:cNvSpPr txBox="1"/>
          <p:nvPr/>
        </p:nvSpPr>
        <p:spPr>
          <a:xfrm>
            <a:off x="6096000" y="1238294"/>
            <a:ext cx="5819424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Bottom cod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Occurs due to non-filing of tax returns below the tax-free threshol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orsened by increase in tax-free threshold in 2012 (from $6,000 to $18,200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Use PAYG data (jobs file) as primary source to address this in pa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en-AU" b="1" dirty="0"/>
              <a:t>Top coding:</a:t>
            </a: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Values above an earnings level are censored by the ABS – individual kept, but income is set to top-coded valu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op coded value changes depending on variable and changes across different year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 err="1"/>
              <a:t>Datalab</a:t>
            </a:r>
            <a:r>
              <a:rPr lang="en-AU" dirty="0"/>
              <a:t> recommendations is to only release data based on top coding at a nominal $1 million per job per year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Total taxable income top coded to $6 million pa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085F558-C603-50E5-1991-F0B6D1E751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64FD73-D29A-C3E3-48AE-C96C2CDAA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ustralia microdata and specific coding issues</a:t>
            </a:r>
          </a:p>
        </p:txBody>
      </p:sp>
      <p:pic>
        <p:nvPicPr>
          <p:cNvPr id="1026" name="Picture 2" descr="The LEED is comprised of a person file, a job file and an employer file ">
            <a:extLst>
              <a:ext uri="{FF2B5EF4-FFF2-40B4-BE49-F238E27FC236}">
                <a16:creationId xmlns:a16="http://schemas.microsoft.com/office/drawing/2014/main" id="{589D424F-523D-F277-B274-7280F22ACE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21" y="2265811"/>
            <a:ext cx="3971925" cy="329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2B5A4E-5231-2CA5-1C9C-7B0B07582258}"/>
              </a:ext>
            </a:extLst>
          </p:cNvPr>
          <p:cNvSpPr txBox="1"/>
          <p:nvPr/>
        </p:nvSpPr>
        <p:spPr>
          <a:xfrm>
            <a:off x="1582068" y="1622515"/>
            <a:ext cx="23085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b="1" dirty="0"/>
              <a:t>Data structure</a:t>
            </a:r>
          </a:p>
        </p:txBody>
      </p:sp>
    </p:spTree>
    <p:extLst>
      <p:ext uri="{BB962C8B-B14F-4D97-AF65-F5344CB8AC3E}">
        <p14:creationId xmlns:p14="http://schemas.microsoft.com/office/powerpoint/2010/main" val="41189213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30CACA-242B-F30D-5A95-B293317465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1A446-5F90-8DD1-ACD3-3120DD1F1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roeconomic performanc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23372E7-6DED-E59E-CE1C-B194EEB27F4B}"/>
              </a:ext>
            </a:extLst>
          </p:cNvPr>
          <p:cNvSpPr/>
          <p:nvPr/>
        </p:nvSpPr>
        <p:spPr>
          <a:xfrm>
            <a:off x="370417" y="1184961"/>
            <a:ext cx="10777312" cy="1395238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Graphik"/>
              </a:rPr>
              <a:t>Australian macro context: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Graphik"/>
              </a:rPr>
              <a:t> </a:t>
            </a:r>
          </a:p>
          <a:p>
            <a:pPr marL="285750" indent="-285750" algn="ctr">
              <a:buFont typeface="Arial"/>
              <a:buChar char="•"/>
            </a:pPr>
            <a:r>
              <a:rPr lang="en-US" b="1" dirty="0">
                <a:solidFill>
                  <a:schemeClr val="bg1"/>
                </a:solidFill>
                <a:latin typeface="Graphik"/>
              </a:rPr>
              <a:t>Only one “GDP recession” in 30 years (population growth)</a:t>
            </a:r>
          </a:p>
          <a:p>
            <a:pPr marL="285750" indent="-285750" algn="ctr">
              <a:buFont typeface="Arial"/>
              <a:buChar char="•"/>
            </a:pPr>
            <a:r>
              <a:rPr lang="en-US" b="1" dirty="0">
                <a:solidFill>
                  <a:schemeClr val="bg1"/>
                </a:solidFill>
                <a:latin typeface="Graphik"/>
              </a:rPr>
              <a:t>End of mining boom (post-2012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6312E2-5F14-FB21-0DBB-850F2D7FA2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538445" y="3231757"/>
            <a:ext cx="4634416" cy="4114800"/>
          </a:xfrm>
          <a:prstGeom prst="rect">
            <a:avLst/>
          </a:prstGeom>
        </p:spPr>
      </p:pic>
      <p:pic>
        <p:nvPicPr>
          <p:cNvPr id="7" name="Picture 6" descr="A graph with a line going up&#10;&#10;Description automatically generated">
            <a:extLst>
              <a:ext uri="{FF2B5EF4-FFF2-40B4-BE49-F238E27FC236}">
                <a16:creationId xmlns:a16="http://schemas.microsoft.com/office/drawing/2014/main" id="{8521B718-E5B9-DBC0-DF35-59EB3A936A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595" y="2927319"/>
            <a:ext cx="4187760" cy="3546777"/>
          </a:xfrm>
          <a:prstGeom prst="rect">
            <a:avLst/>
          </a:prstGeom>
        </p:spPr>
      </p:pic>
      <p:pic>
        <p:nvPicPr>
          <p:cNvPr id="12" name="Picture 11" descr="A graph of a graph showing the growth of the stock market&#10;&#10;Description automatically generated with medium confidence">
            <a:extLst>
              <a:ext uri="{FF2B5EF4-FFF2-40B4-BE49-F238E27FC236}">
                <a16:creationId xmlns:a16="http://schemas.microsoft.com/office/drawing/2014/main" id="{1ABC69A2-6594-27EB-E31C-BB89050B6D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6666" y="2890028"/>
            <a:ext cx="4121551" cy="3546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633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5F0CD3CAC577428F918345EA95984B" ma:contentTypeVersion="17" ma:contentTypeDescription="Create a new document." ma:contentTypeScope="" ma:versionID="9c24137184b708f2103a3e4c853158b3">
  <xsd:schema xmlns:xsd="http://www.w3.org/2001/XMLSchema" xmlns:xs="http://www.w3.org/2001/XMLSchema" xmlns:p="http://schemas.microsoft.com/office/2006/metadata/properties" xmlns:ns3="e4d1f766-b7bc-405f-b1b1-3708f68b947f" xmlns:ns4="4b9edf12-ce7f-4316-b8c3-2be73dc7b433" targetNamespace="http://schemas.microsoft.com/office/2006/metadata/properties" ma:root="true" ma:fieldsID="254f0ded5abdb5f5479229dbb4141a84" ns3:_="" ns4:_="">
    <xsd:import namespace="e4d1f766-b7bc-405f-b1b1-3708f68b947f"/>
    <xsd:import namespace="4b9edf12-ce7f-4316-b8c3-2be73dc7b43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LengthInSecond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d1f766-b7bc-405f-b1b1-3708f68b94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9edf12-ce7f-4316-b8c3-2be73dc7b43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e4d1f766-b7bc-405f-b1b1-3708f68b947f" xsi:nil="true"/>
  </documentManagement>
</p:properties>
</file>

<file path=customXml/itemProps1.xml><?xml version="1.0" encoding="utf-8"?>
<ds:datastoreItem xmlns:ds="http://schemas.openxmlformats.org/officeDocument/2006/customXml" ds:itemID="{E9587A8C-E6E0-438A-B9B2-09B0104496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DA4B1C8-1F67-4F80-A351-28C0092FBB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d1f766-b7bc-405f-b1b1-3708f68b947f"/>
    <ds:schemaRef ds:uri="4b9edf12-ce7f-4316-b8c3-2be73dc7b4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C3014CD-E2BD-461E-A467-52259CD1155D}">
  <ds:schemaRefs>
    <ds:schemaRef ds:uri="http://purl.org/dc/elements/1.1/"/>
    <ds:schemaRef ds:uri="http://purl.org/dc/terms/"/>
    <ds:schemaRef ds:uri="4b9edf12-ce7f-4316-b8c3-2be73dc7b433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e4d1f766-b7bc-405f-b1b1-3708f68b947f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971</TotalTime>
  <Words>848</Words>
  <Application>Microsoft Office PowerPoint</Application>
  <PresentationFormat>Widescreen</PresentationFormat>
  <Paragraphs>116</Paragraphs>
  <Slides>23</Slides>
  <Notes>0</Notes>
  <HiddenSlides>2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5" baseType="lpstr">
      <vt:lpstr>Aptos</vt:lpstr>
      <vt:lpstr>Arial</vt:lpstr>
      <vt:lpstr>Cambria Math</vt:lpstr>
      <vt:lpstr>Graphik</vt:lpstr>
      <vt:lpstr>GT Sectra Fine</vt:lpstr>
      <vt:lpstr>Proxima Nova Rg</vt:lpstr>
      <vt:lpstr>Roboto</vt:lpstr>
      <vt:lpstr>Roboto Black</vt:lpstr>
      <vt:lpstr>System Font</vt:lpstr>
      <vt:lpstr>e61 slide master</vt:lpstr>
      <vt:lpstr>e61 slide master</vt:lpstr>
      <vt:lpstr>think-cell Slide</vt:lpstr>
      <vt:lpstr>Australian insights on income dynamics from administrative data (2002-2022)</vt:lpstr>
      <vt:lpstr>PowerPoint Presentation</vt:lpstr>
      <vt:lpstr>Variable construction</vt:lpstr>
      <vt:lpstr>E61 GRID Team</vt:lpstr>
      <vt:lpstr>Australia sample summary</vt:lpstr>
      <vt:lpstr>Australia microdata</vt:lpstr>
      <vt:lpstr>Data construction</vt:lpstr>
      <vt:lpstr>Australia microdata and specific coding issues</vt:lpstr>
      <vt:lpstr>Macroeconomic performance</vt:lpstr>
      <vt:lpstr>Macroeconomic performance</vt:lpstr>
      <vt:lpstr>PowerPoint Presentation</vt:lpstr>
      <vt:lpstr>Percentiles of the Log Real Earnings Distribution relative to 2002</vt:lpstr>
      <vt:lpstr>Percentiles of the Log Real Earnings Distribution relative to 2002</vt:lpstr>
      <vt:lpstr>Evolution of Labour Earnings Inequality by Cohort</vt:lpstr>
      <vt:lpstr>PowerPoint Presentation</vt:lpstr>
      <vt:lpstr>Distribution of one-year growth of residualized earnings</vt:lpstr>
      <vt:lpstr>One-year growth of residualized earnings by permanent income</vt:lpstr>
      <vt:lpstr>One-year growth of residualised earnings by permanent income</vt:lpstr>
      <vt:lpstr>One-year growth of residualised earnings by permanent income</vt:lpstr>
      <vt:lpstr>PowerPoint Presentation</vt:lpstr>
      <vt:lpstr>Rank-rank mobility within permanent income distribu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ghts on Australian inequality from two decades of administrative earnings data</dc:title>
  <dc:creator>Matt Elias</dc:creator>
  <cp:lastModifiedBy>Matt</cp:lastModifiedBy>
  <cp:revision>108</cp:revision>
  <dcterms:created xsi:type="dcterms:W3CDTF">2024-03-04T23:45:18Z</dcterms:created>
  <dcterms:modified xsi:type="dcterms:W3CDTF">2024-11-08T19:2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5F0CD3CAC577428F918345EA95984B</vt:lpwstr>
  </property>
</Properties>
</file>